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5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8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7" r:id="rId2"/>
    <p:sldId id="264" r:id="rId3"/>
    <p:sldId id="266" r:id="rId4"/>
    <p:sldId id="267" r:id="rId5"/>
    <p:sldId id="268" r:id="rId6"/>
    <p:sldId id="269" r:id="rId7"/>
    <p:sldId id="270" r:id="rId8"/>
    <p:sldId id="271" r:id="rId9"/>
    <p:sldId id="272" r:id="rId10"/>
    <p:sldId id="265" r:id="rId11"/>
  </p:sldIdLst>
  <p:sldSz cx="9144000" cy="5143500" type="screen16x9"/>
  <p:notesSz cx="6858000" cy="9144000"/>
  <p:custDataLst>
    <p:tags r:id="rId14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40" autoAdjust="0"/>
    <p:restoredTop sz="94628" autoAdjust="0"/>
  </p:normalViewPr>
  <p:slideViewPr>
    <p:cSldViewPr snapToGrid="0">
      <p:cViewPr varScale="1">
        <p:scale>
          <a:sx n="222" d="100"/>
          <a:sy n="222" d="100"/>
        </p:scale>
        <p:origin x="-2970" y="-96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18-9-20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18-9-2019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58383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043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emf"/><Relationship Id="rId5" Type="http://schemas.openxmlformats.org/officeDocument/2006/relationships/tags" Target="../tags/tag5.xml"/><Relationship Id="rId10" Type="http://schemas.openxmlformats.org/officeDocument/2006/relationships/image" Target="../media/image3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image" Target="../media/image14.jpg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image" Target="../media/image11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12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5.emf"/><Relationship Id="rId4" Type="http://schemas.openxmlformats.org/officeDocument/2006/relationships/image" Target="../media/image1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657475" y="1587341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 smtClean="0"/>
              <a:t>Klik om een sectiekop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 smtClean="0"/>
              <a:t>Klik op het pictogram om </a:t>
            </a:r>
            <a:br>
              <a:rPr lang="nl-NL" dirty="0" smtClean="0"/>
            </a:br>
            <a:r>
              <a:rPr lang="nl-NL" dirty="0" smtClean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Energ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759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Erfgoe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4746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040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Ruimtegebrui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526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raatbeel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54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keer en Vervo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74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aterweg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5685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Zandmoto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4471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 smtClean="0"/>
              <a:t>Klik om een</a:t>
            </a:r>
            <a:br>
              <a:rPr lang="nl-NL" noProof="0" dirty="0" smtClean="0"/>
            </a:br>
            <a:r>
              <a:rPr lang="nl-NL" noProof="0" dirty="0" smtClean="0"/>
              <a:t>titel te ma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 smtClean="0"/>
              <a:t>Eerste niveau</a:t>
            </a:r>
          </a:p>
          <a:p>
            <a:pPr lvl="1"/>
            <a:r>
              <a:rPr lang="nl-NL" noProof="0" dirty="0" smtClean="0"/>
              <a:t>Tweede niveau</a:t>
            </a:r>
          </a:p>
          <a:p>
            <a:pPr lvl="2"/>
            <a:r>
              <a:rPr lang="nl-NL" noProof="0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  <a:p>
            <a:pPr lvl="4"/>
            <a:r>
              <a:rPr lang="nl-NL" noProof="0" dirty="0" smtClean="0"/>
              <a:t>Vijfde niveau</a:t>
            </a:r>
          </a:p>
          <a:p>
            <a:pPr lvl="5"/>
            <a:r>
              <a:rPr lang="nl-NL" noProof="0" dirty="0" smtClean="0"/>
              <a:t>Zesde niveau</a:t>
            </a:r>
            <a:endParaRPr lang="nl-NL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5" r:id="rId8"/>
    <p:sldLayoutId id="2147483664" r:id="rId9"/>
    <p:sldLayoutId id="2147483650" r:id="rId10"/>
    <p:sldLayoutId id="2147483651" r:id="rId11"/>
    <p:sldLayoutId id="2147483652" r:id="rId12"/>
    <p:sldLayoutId id="2147483653" r:id="rId13"/>
    <p:sldLayoutId id="2147483654" r:id="rId14"/>
    <p:sldLayoutId id="2147483655" r:id="rId15"/>
    <p:sldLayoutId id="2147483662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image" Target="../media/image5.emf"/><Relationship Id="rId5" Type="http://schemas.openxmlformats.org/officeDocument/2006/relationships/tags" Target="../tags/tag33.xml"/><Relationship Id="rId10" Type="http://schemas.openxmlformats.org/officeDocument/2006/relationships/image" Target="../media/image3.emf"/><Relationship Id="rId4" Type="http://schemas.openxmlformats.org/officeDocument/2006/relationships/tags" Target="../tags/tag32.xml"/><Relationship Id="rId9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image" Target="../media/image5.emf"/><Relationship Id="rId5" Type="http://schemas.openxmlformats.org/officeDocument/2006/relationships/tags" Target="../tags/tag38.xml"/><Relationship Id="rId10" Type="http://schemas.openxmlformats.org/officeDocument/2006/relationships/image" Target="../media/image3.emf"/><Relationship Id="rId4" Type="http://schemas.openxmlformats.org/officeDocument/2006/relationships/tags" Target="../tags/tag37.xml"/><Relationship Id="rId9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41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tags" Target="../tags/tag44.xml"/><Relationship Id="rId11" Type="http://schemas.openxmlformats.org/officeDocument/2006/relationships/image" Target="../media/image5.emf"/><Relationship Id="rId5" Type="http://schemas.openxmlformats.org/officeDocument/2006/relationships/tags" Target="../tags/tag43.xml"/><Relationship Id="rId10" Type="http://schemas.openxmlformats.org/officeDocument/2006/relationships/image" Target="../media/image3.emf"/><Relationship Id="rId4" Type="http://schemas.openxmlformats.org/officeDocument/2006/relationships/tags" Target="../tags/tag42.xml"/><Relationship Id="rId9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image" Target="../media/image5.emf"/><Relationship Id="rId5" Type="http://schemas.openxmlformats.org/officeDocument/2006/relationships/tags" Target="../tags/tag48.xml"/><Relationship Id="rId10" Type="http://schemas.openxmlformats.org/officeDocument/2006/relationships/image" Target="../media/image3.emf"/><Relationship Id="rId4" Type="http://schemas.openxmlformats.org/officeDocument/2006/relationships/tags" Target="../tags/tag47.xml"/><Relationship Id="rId9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tags" Target="../tags/tag54.xml"/><Relationship Id="rId11" Type="http://schemas.openxmlformats.org/officeDocument/2006/relationships/image" Target="../media/image5.emf"/><Relationship Id="rId5" Type="http://schemas.openxmlformats.org/officeDocument/2006/relationships/tags" Target="../tags/tag53.xml"/><Relationship Id="rId10" Type="http://schemas.openxmlformats.org/officeDocument/2006/relationships/image" Target="../media/image3.emf"/><Relationship Id="rId4" Type="http://schemas.openxmlformats.org/officeDocument/2006/relationships/tags" Target="../tags/tag52.xml"/><Relationship Id="rId9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9.vml"/><Relationship Id="rId6" Type="http://schemas.openxmlformats.org/officeDocument/2006/relationships/tags" Target="../tags/tag59.xml"/><Relationship Id="rId11" Type="http://schemas.openxmlformats.org/officeDocument/2006/relationships/image" Target="../media/image5.emf"/><Relationship Id="rId5" Type="http://schemas.openxmlformats.org/officeDocument/2006/relationships/tags" Target="../tags/tag58.xml"/><Relationship Id="rId10" Type="http://schemas.openxmlformats.org/officeDocument/2006/relationships/image" Target="../media/image3.emf"/><Relationship Id="rId4" Type="http://schemas.openxmlformats.org/officeDocument/2006/relationships/tags" Target="../tags/tag57.xml"/><Relationship Id="rId9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61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4.xml"/><Relationship Id="rId11" Type="http://schemas.openxmlformats.org/officeDocument/2006/relationships/image" Target="../media/image5.emf"/><Relationship Id="rId5" Type="http://schemas.openxmlformats.org/officeDocument/2006/relationships/tags" Target="../tags/tag63.xml"/><Relationship Id="rId10" Type="http://schemas.openxmlformats.org/officeDocument/2006/relationships/image" Target="../media/image3.emf"/><Relationship Id="rId4" Type="http://schemas.openxmlformats.org/officeDocument/2006/relationships/tags" Target="../tags/tag62.xml"/><Relationship Id="rId9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9.xml"/><Relationship Id="rId11" Type="http://schemas.openxmlformats.org/officeDocument/2006/relationships/image" Target="../media/image5.emf"/><Relationship Id="rId5" Type="http://schemas.openxmlformats.org/officeDocument/2006/relationships/tags" Target="../tags/tag68.xml"/><Relationship Id="rId10" Type="http://schemas.openxmlformats.org/officeDocument/2006/relationships/image" Target="../media/image3.emf"/><Relationship Id="rId4" Type="http://schemas.openxmlformats.org/officeDocument/2006/relationships/tags" Target="../tags/tag67.xml"/><Relationship Id="rId9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PV in de regio’s van de provincie ZH</a:t>
            </a:r>
            <a:endParaRPr lang="nl-NL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1"/>
            <a:ext cx="6056313" cy="270715"/>
          </a:xfrm>
        </p:spPr>
        <p:txBody>
          <a:bodyPr/>
          <a:lstStyle/>
          <a:p>
            <a:r>
              <a:rPr lang="nl-NL" smtClean="0"/>
              <a:t>Samenwerking en integralitei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7" name="Content Placehold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8668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940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56313" cy="3490186"/>
          </a:xfrm>
        </p:spPr>
        <p:txBody>
          <a:bodyPr/>
          <a:lstStyle/>
          <a:p>
            <a:r>
              <a:rPr lang="nl-NL" b="1" smtClean="0"/>
              <a:t>Ambitie</a:t>
            </a:r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Aantal verkeersslachtoffers naar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Nieuwe impuls nodig in </a:t>
            </a:r>
            <a:r>
              <a:rPr lang="nl-NL" b="1" smtClean="0"/>
              <a:t>samenwerking</a:t>
            </a:r>
            <a:r>
              <a:rPr lang="nl-NL" smtClean="0"/>
              <a:t> en </a:t>
            </a:r>
            <a:r>
              <a:rPr lang="nl-NL" b="1" smtClean="0"/>
              <a:t>integrale</a:t>
            </a:r>
            <a:r>
              <a:rPr lang="nl-NL" smtClean="0"/>
              <a:t> aanpa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/>
              <a:t>Op basis van een </a:t>
            </a:r>
            <a:r>
              <a:rPr lang="nl-NL" b="1"/>
              <a:t>risicogestuurde</a:t>
            </a:r>
            <a:r>
              <a:rPr lang="nl-NL"/>
              <a:t> aanpa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/>
              <a:t>Met als doel te komen tot </a:t>
            </a:r>
            <a:r>
              <a:rPr lang="nl-NL"/>
              <a:t>regionale </a:t>
            </a:r>
            <a:r>
              <a:rPr lang="nl-NL" b="1" smtClean="0"/>
              <a:t>uitvoerings-agenda’s </a:t>
            </a:r>
            <a:r>
              <a:rPr lang="nl-NL" smtClean="0"/>
              <a:t> met effectieve maatregelen</a:t>
            </a:r>
            <a:endParaRPr lang="nl-NL" b="1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Monitoren en evalueren</a:t>
            </a: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0749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55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10007" cy="2908489"/>
          </a:xfrm>
        </p:spPr>
        <p:txBody>
          <a:bodyPr/>
          <a:lstStyle/>
          <a:p>
            <a:r>
              <a:rPr lang="nl-NL" b="1" smtClean="0"/>
              <a:t>Implementatiedoelen korte termijn</a:t>
            </a:r>
          </a:p>
          <a:p>
            <a:endParaRPr lang="nl-NL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Betrokken partijen bekend maken met de uitgangspunten van het SP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Opzetten van regionale overlegtafels, voor samenwerking en integrale afste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Realiseren van uitvoeringsagenda’s, gebaseerd op risico-analyses</a:t>
            </a:r>
            <a:endParaRPr lang="nl-NL" smtClean="0"/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34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55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194604" cy="2617640"/>
          </a:xfrm>
        </p:spPr>
        <p:txBody>
          <a:bodyPr/>
          <a:lstStyle/>
          <a:p>
            <a:r>
              <a:rPr lang="nl-NL" b="1" smtClean="0"/>
              <a:t>Bekend met uitgangspunten?</a:t>
            </a:r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at is </a:t>
            </a:r>
            <a:r>
              <a:rPr lang="nl-NL" b="1" smtClean="0"/>
              <a:t>geen</a:t>
            </a:r>
            <a:r>
              <a:rPr lang="nl-NL" smtClean="0"/>
              <a:t> risico vanuit individuele verkeersdeelnemer? Verkeersovertreders of kwetsbare verkeersdeelnem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Is de ‘black spot’-aanpak een </a:t>
            </a:r>
            <a:r>
              <a:rPr lang="nl-NL" b="1" smtClean="0"/>
              <a:t>re</a:t>
            </a:r>
            <a:r>
              <a:rPr lang="nl-NL" smtClean="0"/>
              <a:t>actieve aanpak of een </a:t>
            </a:r>
            <a:r>
              <a:rPr lang="nl-NL" b="1" smtClean="0"/>
              <a:t>pro</a:t>
            </a:r>
            <a:r>
              <a:rPr lang="nl-NL" smtClean="0"/>
              <a:t>-actieve aanpak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at was 1 van de eerste stappen in pro-actief beleid: Duurzaam Veilig of werken o.b.v. SPI’s/risicofactoren?</a:t>
            </a: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34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55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56313" cy="3199337"/>
          </a:xfrm>
        </p:spPr>
        <p:txBody>
          <a:bodyPr/>
          <a:lstStyle/>
          <a:p>
            <a:r>
              <a:rPr lang="nl-NL" b="1" smtClean="0"/>
              <a:t>Hoe werken we in Zuid-Holland?</a:t>
            </a:r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RPV voor gedragsbeinvloeding en educa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Ambtelijke werkgroep en bestuurlijk overl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Gemeenten, regio, projectleider, ROV, provincie (soms), politie (soms), OM (niet), belangenorganisaties (soms) zitten al dan niet aan taf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egbeheerders (infra) in werkgroep V&amp;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Handhaving (poltie) zit soms aan taf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?</a:t>
            </a: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34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55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56313" cy="3490186"/>
          </a:xfrm>
        </p:spPr>
        <p:txBody>
          <a:bodyPr/>
          <a:lstStyle/>
          <a:p>
            <a:r>
              <a:rPr lang="nl-NL" b="1" smtClean="0"/>
              <a:t>Knelpunten in samenwerking</a:t>
            </a:r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Niet altijd zitten partijen aan tafel die je nodig hebt (provincie, politie, OM, sommige gemeenten, 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Door fusies bestaat 1 regio nog maar uit 1 geme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egbeheerders (infra) ‘praten’niet in hetzelfde overleg met gedragsbeinvloeding/educa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OM wil wel maar heeft te weinig capacit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Bestuurlijke verankering op PVV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34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55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56313" cy="3199337"/>
          </a:xfrm>
        </p:spPr>
        <p:txBody>
          <a:bodyPr/>
          <a:lstStyle/>
          <a:p>
            <a:r>
              <a:rPr lang="nl-NL" b="1" smtClean="0"/>
              <a:t>SPV overlegtafels, de nieuwe RPV’s 2.0</a:t>
            </a:r>
            <a:endParaRPr lang="nl-NL" b="1" smtClean="0"/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Regio’s hebben hun specifieke kenmerken, grootte en zijn niet dezelfde entitei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Dat betekent maatwerk: de behoefte aan ondersteuning is niet overal gelijk en zal per regio verschi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Landelijke procesbegeleiding mogelijk (wie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Provincie pakt haar regierol, zonder verantwoordelijkheden over te ne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?</a:t>
            </a: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34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55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56313" cy="3199337"/>
          </a:xfrm>
        </p:spPr>
        <p:txBody>
          <a:bodyPr/>
          <a:lstStyle/>
          <a:p>
            <a:r>
              <a:rPr lang="nl-NL" b="1" smtClean="0"/>
              <a:t>SPV u</a:t>
            </a:r>
            <a:r>
              <a:rPr lang="nl-NL" b="1" smtClean="0"/>
              <a:t>itvoeringsagenda</a:t>
            </a:r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Gebiedsagenda en actieprogramma in 1, integrale aanpak. Hoe moet handhaving hierin een plek krijg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Gebaseerd op risicogestuurde aanpak en risicoanalyses, ambtelijke voorbereiding, bestuurlijke vaststell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Geld volgt op inhoud, maar wel belangrijk. Hoe om te gaan met provinciale subsidi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Monitoren en evaluer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?</a:t>
            </a: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34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807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Strategisch Plan Verkeersveiligheid 2030</a:t>
            </a:r>
            <a:endParaRPr lang="nl-NL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3"/>
            <a:ext cx="6056313" cy="2617640"/>
          </a:xfrm>
        </p:spPr>
        <p:txBody>
          <a:bodyPr/>
          <a:lstStyle/>
          <a:p>
            <a:r>
              <a:rPr lang="nl-NL" b="1" smtClean="0"/>
              <a:t>Vragen/opmerkingen?</a:t>
            </a:r>
          </a:p>
          <a:p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at vind ik goed aan wat ik gehoord heb?</a:t>
            </a: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at kan sterker of moet ande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at wil ik nog kwij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Waar ga ik over nadenk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En wat ga ik gelijk oppakk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?</a:t>
            </a:r>
            <a:endParaRPr lang="nl-NL"/>
          </a:p>
        </p:txBody>
      </p:sp>
      <p:sp>
        <p:nvSpPr>
          <p:cNvPr id="8" name="Rectangle 7"/>
          <p:cNvSpPr>
            <a:spLocks noGrp="1" noRot="1" noMove="1" noResize="1" noEditPoints="1" noAdjustHandles="1" noChangeShapeType="1" noTextEdit="1"/>
          </p:cNvSpPr>
          <p:nvPr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9" name="Picture 8"/>
          <p:cNvPicPr>
            <a:picLocks noGrp="1" noRot="1" noMove="1" noResize="1" noEditPoints="1" noAdjustHandles="1" noChangeShapeType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8458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Cp9prnUCmUCDmFNj53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0t0OhqES9pDwS1L0s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s.TNkXAU2.PBTKhiNkXw"/>
  <p:tag name="SHAPE_LOCKS" val="145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GwrswQUWF02EhIvE0Mw"/>
  <p:tag name="SHAPE_LOCKS" val="145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7</TotalTime>
  <Words>433</Words>
  <Application>Microsoft Office PowerPoint</Application>
  <PresentationFormat>Diavoorstelling (16:9)</PresentationFormat>
  <Paragraphs>82</Paragraphs>
  <Slides>10</Slides>
  <Notes>10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2" baseType="lpstr">
      <vt:lpstr>Provincie Zuid Holland 16x9</vt:lpstr>
      <vt:lpstr>think-cell Slide</vt:lpstr>
      <vt:lpstr>SPV in de regio’s van de provincie ZH</vt:lpstr>
      <vt:lpstr>Strategisch Plan Verkeersveiligheid 2030</vt:lpstr>
      <vt:lpstr>Strategisch Plan Verkeersveiligheid 2030</vt:lpstr>
      <vt:lpstr>Strategisch Plan Verkeersveiligheid 2030</vt:lpstr>
      <vt:lpstr>Strategisch Plan Verkeersveiligheid 2030</vt:lpstr>
      <vt:lpstr>Strategisch Plan Verkeersveiligheid 2030</vt:lpstr>
      <vt:lpstr>Strategisch Plan Verkeersveiligheid 2030</vt:lpstr>
      <vt:lpstr>Strategisch Plan Verkeersveiligheid 2030</vt:lpstr>
      <vt:lpstr>Strategisch Plan Verkeersveiligheid 2030</vt:lpstr>
      <vt:lpstr>PowerPoint-presentatie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y Post</dc:creator>
  <cp:lastModifiedBy>horstem</cp:lastModifiedBy>
  <cp:revision>67</cp:revision>
  <dcterms:created xsi:type="dcterms:W3CDTF">2012-10-29T11:59:42Z</dcterms:created>
  <dcterms:modified xsi:type="dcterms:W3CDTF">2019-09-18T13:14:23Z</dcterms:modified>
</cp:coreProperties>
</file>